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200"/>
    <a:srgbClr val="38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11" autoAdjust="0"/>
    <p:restoredTop sz="94643"/>
  </p:normalViewPr>
  <p:slideViewPr>
    <p:cSldViewPr snapToGrid="0" snapToObjects="1">
      <p:cViewPr varScale="1">
        <p:scale>
          <a:sx n="64" d="100"/>
          <a:sy n="64" d="100"/>
        </p:scale>
        <p:origin x="2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5B781-0ED2-4345-BEFE-C181358C1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A7811A-B747-FF4C-A0A5-B655595BF9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5730D7-ED37-2745-A414-000728F86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3BAF1-1BA7-944F-AB27-F7194C12D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9E3F5-CF05-654C-936A-B7EE11DA8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14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E01EE-2899-C443-980A-1047A7400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1DC479-6635-AD4F-BD2E-650AA7769D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94F340-2143-9941-9C0D-1D96B828F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67849-8B5B-094D-97E6-E40CACA4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CEA23-0777-2341-9E8E-E6C1B5BA2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373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47C28C-88BB-2F49-A9CA-17AC966259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FADA55-430D-1A4D-AC93-0F2A21D74C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93A920-FD37-D746-9B26-EAAB13AA5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AAA70D-0969-BD4C-8BAB-89A0AD80C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65BB90-1FAB-E647-BD12-D3D516279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75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252D0-3979-9941-A24A-B32CDCD29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75386-0B34-114D-B7D2-4CA4AA64F4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8E3E58-A6D9-C146-946B-E93AB4452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24DF6-D3EE-A844-AD76-A2EEDDE60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74E1A7-FB26-CE48-989A-C30683B97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46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FCB8F-73FF-974D-8519-48E78B487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FBFA36-CA5D-F541-AD70-B6DC115D3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185B00-E2D9-064F-8127-9EE35838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94C603-909E-7C47-9DBF-D4A20FC4C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CA6C3D-1939-0B47-A115-960DD2021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945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783F0-B7B1-7E4E-93F3-788F12956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1D3E8E-4619-6845-9A51-255FAD51CC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196A7C-70A8-3840-A879-062C27C1DA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3D0C60-C8B3-6A44-BB80-C7D8E1780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F2FDCE-08C4-7649-9A2A-E62A41985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64D137-62F8-D44F-91EE-3CB3A75CC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1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6EB72-06DB-6046-B279-6BC6F53D9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16984-B8B7-7046-8650-29AA9C543A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2805C1-129F-5746-BFEA-2011D3D16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C972A5-364D-9049-891E-A481DA3FAF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CD5873-EEA6-F449-A699-ACC03E81C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05FE68-6557-E74C-A268-579F5637B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19859B-8414-6048-ACCF-879CD3BC1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4EB1D0-65F5-6E44-9DC7-A04CCB081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559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0DC1-2EA7-2243-8A36-D3A7356E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89F8C-AAB9-324B-924A-E9088E0D6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EE56D-0597-6140-8485-B89DE77D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2FA879-016C-5840-9C5B-226E715F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211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A49A32-0A8D-5B4C-AAF9-4791D1364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41DA65-E1E3-0A48-81F1-4D2A970CA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765A6A-9B42-364C-ADBE-232DF5B29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27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E046F-2C14-A447-A8BC-C20475A66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23171-0BA3-D64A-A529-A47F0CF08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EE36D6-9991-AD46-B781-0E908AA9DD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00E6AE-61BF-B240-AA3D-CE90B0EE3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25338-DF6F-404E-A6A3-568B08D16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65D1D5-BF02-8D4F-A954-56B16E199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532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D4BD4-7B32-F742-A259-E8C97224A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3050B1-79EE-D040-9FF4-E44D7D6E51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E8C28C-70A4-8845-A22B-7A2869E35B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DCAA9-6067-0443-8DF6-7AAABFB42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897E8-74FC-C147-BCA2-7A3B997D4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CB87A6-A673-B048-8385-BB971B44E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00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B295B0-1D88-9647-A42E-3C9913404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1B56D7-1EC1-A34F-B8A3-6580D0321B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FFB18E-4932-ED40-8EDD-A7A4ADA270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404A4-9777-484C-9646-FA1FA153E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8C862-D871-BB43-81F2-808EB0347F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8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292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Hexagon 51">
            <a:extLst>
              <a:ext uri="{FF2B5EF4-FFF2-40B4-BE49-F238E27FC236}">
                <a16:creationId xmlns:a16="http://schemas.microsoft.com/office/drawing/2014/main" id="{90E46B38-1301-774F-8904-FFF8966BD8C2}"/>
              </a:ext>
            </a:extLst>
          </p:cNvPr>
          <p:cNvSpPr>
            <a:spLocks noChangeAspect="1"/>
          </p:cNvSpPr>
          <p:nvPr/>
        </p:nvSpPr>
        <p:spPr>
          <a:xfrm rot="1800000">
            <a:off x="7086689" y="2245462"/>
            <a:ext cx="2721600" cy="2340626"/>
          </a:xfrm>
          <a:prstGeom prst="hexagon">
            <a:avLst>
              <a:gd name="adj" fmla="val 28372"/>
              <a:gd name="vf" fmla="val 115470"/>
            </a:avLst>
          </a:prstGeom>
          <a:solidFill>
            <a:schemeClr val="accent6">
              <a:lumMod val="20000"/>
              <a:lumOff val="80000"/>
            </a:schemeClr>
          </a:solidFill>
          <a:ln w="69850">
            <a:solidFill>
              <a:srgbClr val="383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Hexagon 47">
            <a:extLst>
              <a:ext uri="{FF2B5EF4-FFF2-40B4-BE49-F238E27FC236}">
                <a16:creationId xmlns:a16="http://schemas.microsoft.com/office/drawing/2014/main" id="{04BE30BB-4868-44CA-AC3C-9073CD1F3DB7}"/>
              </a:ext>
            </a:extLst>
          </p:cNvPr>
          <p:cNvSpPr>
            <a:spLocks noChangeAspect="1"/>
          </p:cNvSpPr>
          <p:nvPr/>
        </p:nvSpPr>
        <p:spPr>
          <a:xfrm rot="1800000">
            <a:off x="1757572" y="2276260"/>
            <a:ext cx="2721600" cy="2340626"/>
          </a:xfrm>
          <a:prstGeom prst="hexagon">
            <a:avLst>
              <a:gd name="adj" fmla="val 28372"/>
              <a:gd name="vf" fmla="val 115470"/>
            </a:avLst>
          </a:prstGeom>
          <a:solidFill>
            <a:schemeClr val="accent6">
              <a:lumMod val="20000"/>
              <a:lumOff val="80000"/>
            </a:schemeClr>
          </a:solidFill>
          <a:ln w="69850">
            <a:solidFill>
              <a:srgbClr val="383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48">
            <a:extLst>
              <a:ext uri="{FF2B5EF4-FFF2-40B4-BE49-F238E27FC236}">
                <a16:creationId xmlns:a16="http://schemas.microsoft.com/office/drawing/2014/main" id="{05748CF1-7997-4CAA-8795-51F7BAD7EE51}"/>
              </a:ext>
            </a:extLst>
          </p:cNvPr>
          <p:cNvSpPr txBox="1"/>
          <p:nvPr/>
        </p:nvSpPr>
        <p:spPr>
          <a:xfrm>
            <a:off x="2086137" y="3735555"/>
            <a:ext cx="20644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dirty="0" err="1">
                <a:solidFill>
                  <a:srgbClr val="383838"/>
                </a:solidFill>
                <a:latin typeface="ING Me" panose="02000506040000020004" pitchFamily="2" charset="0"/>
                <a:cs typeface="ING Me" panose="02000506040000020004" pitchFamily="2" charset="0"/>
              </a:rPr>
              <a:t>tstools</a:t>
            </a:r>
            <a:endParaRPr lang="en-GB" sz="3200" dirty="0">
              <a:solidFill>
                <a:srgbClr val="383838"/>
              </a:solidFill>
              <a:latin typeface="ING Me" panose="02000506040000020004" pitchFamily="2" charset="0"/>
              <a:cs typeface="ING Me" panose="02000506040000020004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117" y="2312377"/>
            <a:ext cx="1876510" cy="18765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887" y="2338753"/>
            <a:ext cx="2189286" cy="218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3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9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ING Me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 Tanaka</dc:creator>
  <cp:lastModifiedBy>Kutluay, Y.M. (Mehmet)</cp:lastModifiedBy>
  <cp:revision>31</cp:revision>
  <dcterms:created xsi:type="dcterms:W3CDTF">2018-03-31T22:20:45Z</dcterms:created>
  <dcterms:modified xsi:type="dcterms:W3CDTF">2019-12-06T12:09:33Z</dcterms:modified>
</cp:coreProperties>
</file>